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324" r:id="rId16"/>
    <p:sldId id="331" r:id="rId17"/>
    <p:sldId id="271" r:id="rId18"/>
    <p:sldId id="272" r:id="rId19"/>
    <p:sldId id="273" r:id="rId20"/>
    <p:sldId id="274" r:id="rId21"/>
    <p:sldId id="275" r:id="rId22"/>
    <p:sldId id="332" r:id="rId23"/>
    <p:sldId id="333" r:id="rId24"/>
    <p:sldId id="334" r:id="rId25"/>
    <p:sldId id="335" r:id="rId26"/>
    <p:sldId id="336" r:id="rId27"/>
    <p:sldId id="276" r:id="rId28"/>
    <p:sldId id="277" r:id="rId29"/>
    <p:sldId id="278" r:id="rId30"/>
    <p:sldId id="279" r:id="rId31"/>
    <p:sldId id="280" r:id="rId32"/>
    <p:sldId id="281" r:id="rId33"/>
    <p:sldId id="282" r:id="rId34"/>
    <p:sldId id="283" r:id="rId35"/>
    <p:sldId id="284" r:id="rId36"/>
    <p:sldId id="285" r:id="rId37"/>
    <p:sldId id="286" r:id="rId38"/>
    <p:sldId id="287" r:id="rId39"/>
    <p:sldId id="288" r:id="rId40"/>
    <p:sldId id="289" r:id="rId41"/>
    <p:sldId id="290" r:id="rId42"/>
    <p:sldId id="337" r:id="rId43"/>
    <p:sldId id="338" r:id="rId44"/>
    <p:sldId id="339" r:id="rId45"/>
    <p:sldId id="291" r:id="rId46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714" y="7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0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006071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394780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842722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5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07483DC-EAC8-33B5-6553-BCD4BC97CABF}" type="slidenum">
              <a:rPr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F6ACFAC-934B-A263-5F88-073FA7C1D7B0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ajufaan?utm_source=unsplash&amp;utm_medium=referral&amp;utm_content=creditCopyText"/>
              </a:rPr>
              <a:t>Mohamed Ajufaa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vacation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6</a:t>
            </a:fld>
            <a:endParaRPr lang="en-ID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0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/>
              <a:t>We are mustrust!</a:t>
            </a:r>
            <a:endParaRPr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8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操作系统原理与设计</a:t>
            </a:r>
            <a:r>
              <a:rPr lang="en-US">
                <a:latin typeface="+mj-ea"/>
                <a:ea typeface="+mj-ea"/>
              </a:rPr>
              <a:t>(H) </a:t>
            </a:r>
            <a:r>
              <a:rPr lang="zh-CN">
                <a:latin typeface="+mj-ea"/>
                <a:ea typeface="+mj-ea"/>
              </a:rPr>
              <a:t>期末答辩 授课教师：邢凯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汇报人：阎昶澍、郭东昊、薄震宇、周翟恩和、王劲博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>
                <a:latin typeface="+mj-ea"/>
                <a:ea typeface="+mj-ea"/>
              </a:rPr>
              <a:t>2024</a:t>
            </a:r>
            <a:r>
              <a:rPr lang="zh-CN">
                <a:latin typeface="+mj-ea"/>
                <a:ea typeface="+mj-ea"/>
              </a:rPr>
              <a:t>年</a:t>
            </a:r>
            <a:r>
              <a:rPr lang="en-US">
                <a:latin typeface="+mj-ea"/>
                <a:ea typeface="+mj-ea"/>
              </a:rPr>
              <a:t>7</a:t>
            </a:r>
            <a:r>
              <a:rPr lang="zh-CN">
                <a:latin typeface="+mj-ea"/>
                <a:ea typeface="+mj-ea"/>
              </a:rPr>
              <a:t>月</a:t>
            </a:r>
            <a:r>
              <a:rPr lang="en-US">
                <a:latin typeface="+mj-ea"/>
                <a:ea typeface="+mj-ea"/>
              </a:rPr>
              <a:t>6</a:t>
            </a:r>
            <a:r>
              <a:rPr lang="zh-CN">
                <a:latin typeface="+mj-ea"/>
                <a:ea typeface="+mj-ea"/>
              </a:rPr>
              <a:t>日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6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6168873" y="193183"/>
            <a:ext cx="4967496" cy="61754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/>
          <p:cNvSpPr txBox="1"/>
          <p:nvPr/>
        </p:nvSpPr>
        <p:spPr bwMode="auto">
          <a:xfrm>
            <a:off x="3690783" y="1425783"/>
            <a:ext cx="4000007" cy="5078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zh-CN" sz="28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主目录下</a:t>
            </a:r>
            <a:endParaRPr lang="en-US" sz="28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_asm_vector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定义异常向量和中断处理程序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lis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链表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管理和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内存管理单元（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）的实现，用于内存保护和虚拟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queue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队列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间通信和同步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startup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系统启动时的初始化和配置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ask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任务管理的实现，用于创建、删除和管理任务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imer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定时器管理的实现，用于任务的延时和超时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wrapper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些封装函数，用于简化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的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API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调用。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en-US" sz="2000" b="1" i="0">
                <a:solidFill>
                  <a:srgbClr val="43436B"/>
                </a:solidFill>
                <a:highlight>
                  <a:srgbClr val="FFFFFF"/>
                </a:highlight>
                <a:latin typeface="Consolas"/>
                <a:ea typeface="微软雅黑"/>
              </a:rPr>
              <a:t>./portable/GCC/ARM_CA53_64_RaspberryPi3/</a:t>
            </a:r>
            <a:r>
              <a:rPr lang="zh-CN" sz="20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目录下</a:t>
            </a:r>
            <a:endParaRPr lang="en-US" sz="20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Raspberry Pi 3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平台相关的端口层实现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ASM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平台相关的底层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macro.h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头文件，包含了与平台相关的宏定义和类型定义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emMang/heap_1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个简单的堆内存管理器的实现。</a:t>
            </a:r>
            <a:endParaRPr/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sz="4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基本方法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>
              <a:latin typeface="+mj-ea"/>
              <a:ea typeface="+mj-ea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改写原则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>
                <a:latin typeface="+mj-ea"/>
                <a:ea typeface="+mj-ea"/>
              </a:rPr>
              <a:t>Rust</a:t>
            </a:r>
            <a:r>
              <a:rPr lang="zh-CN" sz="1600">
                <a:latin typeface="+mj-ea"/>
                <a:ea typeface="+mj-ea"/>
              </a:rPr>
              <a:t>命名规范的版本，如“</a:t>
            </a:r>
            <a:r>
              <a:rPr lang="en-US" sz="1600">
                <a:latin typeface="Consolas"/>
                <a:ea typeface="+mj-ea"/>
              </a:rPr>
              <a:t>vInitialiseList</a:t>
            </a:r>
            <a:r>
              <a:rPr lang="zh-CN" sz="1600">
                <a:latin typeface="+mj-ea"/>
                <a:ea typeface="+mj-ea"/>
              </a:rPr>
              <a:t>”改为“</a:t>
            </a:r>
            <a:r>
              <a:rPr lang="en-US" sz="1600">
                <a:latin typeface="Consolas"/>
                <a:ea typeface="+mj-ea"/>
              </a:rPr>
              <a:t>initialize_list</a:t>
            </a:r>
            <a:r>
              <a:rPr lang="zh-CN" sz="1600">
                <a:latin typeface="+mj-ea"/>
                <a:ea typeface="+mj-ea"/>
              </a:rPr>
              <a:t>”</a:t>
            </a:r>
            <a:endParaRPr sz="1600">
              <a:latin typeface="+mj-ea"/>
              <a:ea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rcRect r="47399"/>
          <a:stretch/>
        </p:blipFill>
        <p:spPr bwMode="auto"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/>
          <p:cNvSpPr/>
          <p:nvPr/>
        </p:nvSpPr>
        <p:spPr bwMode="auto"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/>
          <p:cNvCxnSpPr>
            <a:cxnSpLocks/>
          </p:cNvCxnSpPr>
          <p:nvPr/>
        </p:nvCxnSpPr>
        <p:spPr bwMode="auto"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/>
          <p:cNvGrpSpPr/>
          <p:nvPr/>
        </p:nvGrpSpPr>
        <p:grpSpPr bwMode="auto">
          <a:xfrm>
            <a:off x="5707887" y="1429090"/>
            <a:ext cx="569672" cy="204820"/>
            <a:chOff x="5964215" y="1531583"/>
            <a:chExt cx="621997" cy="223633"/>
          </a:xfrm>
        </p:grpSpPr>
        <p:sp>
          <p:nvSpPr>
            <p:cNvPr id="13" name="椭圆 8"/>
            <p:cNvSpPr/>
            <p:nvPr/>
          </p:nvSpPr>
          <p:spPr bwMode="auto"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4" name="直接连接符 12"/>
            <p:cNvCxnSpPr>
              <a:cxnSpLocks/>
              <a:stCxn id="13" idx="6"/>
            </p:cNvCxnSpPr>
            <p:nvPr/>
          </p:nvCxnSpPr>
          <p:spPr bwMode="auto"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/>
          <p:cNvGrpSpPr/>
          <p:nvPr/>
        </p:nvGrpSpPr>
        <p:grpSpPr bwMode="auto">
          <a:xfrm>
            <a:off x="5707889" y="3994573"/>
            <a:ext cx="569670" cy="204820"/>
            <a:chOff x="5964215" y="4790393"/>
            <a:chExt cx="621995" cy="223633"/>
          </a:xfrm>
        </p:grpSpPr>
        <p:sp>
          <p:nvSpPr>
            <p:cNvPr id="16" name="椭圆 10"/>
            <p:cNvSpPr/>
            <p:nvPr/>
          </p:nvSpPr>
          <p:spPr bwMode="auto"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7" name="直接连接符 14"/>
            <p:cNvCxnSpPr>
              <a:cxnSpLocks/>
            </p:cNvCxnSpPr>
            <p:nvPr/>
          </p:nvCxnSpPr>
          <p:spPr bwMode="auto"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/>
          <p:cNvGrpSpPr/>
          <p:nvPr/>
        </p:nvGrpSpPr>
        <p:grpSpPr bwMode="auto">
          <a:xfrm flipH="1">
            <a:off x="5235551" y="2508890"/>
            <a:ext cx="673813" cy="204820"/>
            <a:chOff x="5964215" y="3033279"/>
            <a:chExt cx="735705" cy="223633"/>
          </a:xfrm>
        </p:grpSpPr>
        <p:sp>
          <p:nvSpPr>
            <p:cNvPr id="19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20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/>
          <p:cNvGrpSpPr/>
          <p:nvPr/>
        </p:nvGrpSpPr>
        <p:grpSpPr bwMode="auto">
          <a:xfrm flipH="1">
            <a:off x="5238891" y="5267822"/>
            <a:ext cx="673813" cy="204820"/>
            <a:chOff x="5964215" y="3033279"/>
            <a:chExt cx="735705" cy="223633"/>
          </a:xfrm>
        </p:grpSpPr>
        <p:sp>
          <p:nvSpPr>
            <p:cNvPr id="34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35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/>
          <p:cNvSpPr txBox="1"/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sz="280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CF51FA9-B967-C681-3B79-7025EFFE98B8}"/>
              </a:ext>
            </a:extLst>
          </p:cNvPr>
          <p:cNvSpPr txBox="1"/>
          <p:nvPr/>
        </p:nvSpPr>
        <p:spPr>
          <a:xfrm>
            <a:off x="533400" y="1603611"/>
            <a:ext cx="10290412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问题：所有权问题在链表中尤为突出。我们知道，链表中的链表项可能会在多个地方被使用，在使用完后会被释放，这会导致链表项的生命周期提前结束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解决方案：使用数据结构</a:t>
            </a:r>
            <a:r>
              <a:rPr lang="en-US" altLang="zh-CN" dirty="0"/>
              <a:t>Arc</a:t>
            </a:r>
            <a:r>
              <a:rPr lang="zh-CN" altLang="en-US" dirty="0"/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它能够统计程序的不同地方对某个变量的引用，并且进行计数。只要存在这样的引用，程序就不会自动释放这个变量，从而确保了变量的有效性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E0701E0-0B8E-2CFB-8E13-24994D18B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828CBC-2EC3-82A2-0210-7A941E1750C7}"/>
              </a:ext>
            </a:extLst>
          </p:cNvPr>
          <p:cNvSpPr txBox="1"/>
          <p:nvPr/>
        </p:nvSpPr>
        <p:spPr>
          <a:xfrm>
            <a:off x="533400" y="1694808"/>
            <a:ext cx="10787418" cy="2118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然而使用</a:t>
            </a:r>
            <a:r>
              <a:rPr lang="en-US" altLang="zh-CN" dirty="0"/>
              <a:t>Arc</a:t>
            </a:r>
            <a:r>
              <a:rPr lang="zh-CN" altLang="en-US" dirty="0"/>
              <a:t>包裹数据又会产生新的问题</a:t>
            </a:r>
            <a:r>
              <a:rPr lang="en-US" altLang="zh-CN" dirty="0"/>
              <a:t>——</a:t>
            </a:r>
            <a:r>
              <a:rPr lang="zh-CN" altLang="en-US" dirty="0"/>
              <a:t>循环引用。如果</a:t>
            </a:r>
            <a:r>
              <a:rPr lang="en-US" altLang="zh-CN" dirty="0"/>
              <a:t>A</a:t>
            </a:r>
            <a:r>
              <a:rPr lang="zh-CN" altLang="en-US" dirty="0"/>
              <a:t>引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引用</a:t>
            </a:r>
            <a:r>
              <a:rPr lang="en-US" altLang="zh-CN" dirty="0"/>
              <a:t>A</a:t>
            </a:r>
            <a:r>
              <a:rPr lang="zh-CN" altLang="en-US" dirty="0"/>
              <a:t>，那么</a:t>
            </a:r>
            <a:r>
              <a:rPr lang="en-US" altLang="zh-CN" dirty="0"/>
              <a:t>A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就永远无法被释放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解决方案：引入弱引用</a:t>
            </a:r>
            <a:r>
              <a:rPr lang="en-US" altLang="zh-CN" dirty="0"/>
              <a:t>Weak</a:t>
            </a:r>
            <a:r>
              <a:rPr lang="zh-CN" altLang="en-US" dirty="0"/>
              <a:t>，它不会增加引用数。同时利用</a:t>
            </a:r>
            <a:r>
              <a:rPr lang="en-US" altLang="zh-CN" dirty="0"/>
              <a:t>Rust</a:t>
            </a:r>
            <a:r>
              <a:rPr lang="zh-CN" altLang="en-US" dirty="0"/>
              <a:t>的</a:t>
            </a:r>
            <a:r>
              <a:rPr lang="en-US" altLang="zh-CN" dirty="0"/>
              <a:t>upgrade</a:t>
            </a:r>
            <a:r>
              <a:rPr lang="zh-CN" altLang="en-US" dirty="0"/>
              <a:t>和</a:t>
            </a:r>
            <a:r>
              <a:rPr lang="en-US" altLang="zh-CN" dirty="0"/>
              <a:t>downgrade</a:t>
            </a:r>
            <a:r>
              <a:rPr lang="zh-CN" altLang="en-US" dirty="0"/>
              <a:t>函数可以实现强引用</a:t>
            </a:r>
            <a:r>
              <a:rPr lang="en-US" altLang="zh-CN" dirty="0"/>
              <a:t>Arc</a:t>
            </a:r>
            <a:r>
              <a:rPr lang="zh-CN" altLang="en-US" dirty="0"/>
              <a:t>和弱引用</a:t>
            </a:r>
            <a:r>
              <a:rPr lang="en-US" altLang="zh-CN" dirty="0"/>
              <a:t>Weak</a:t>
            </a:r>
            <a:r>
              <a:rPr lang="zh-CN" altLang="en-US" dirty="0"/>
              <a:t>之间的转换，合理增减变量的引用数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90475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编译时报错头文件中的</a:t>
            </a:r>
            <a:r>
              <a:rPr lang="en-US"/>
              <a:t>const</a:t>
            </a:r>
            <a:r>
              <a:rPr lang="zh-CN"/>
              <a:t>常量重复定义，如下图。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解决方案：将重复定义的</a:t>
            </a:r>
            <a:r>
              <a:rPr lang="en-US"/>
              <a:t>const</a:t>
            </a:r>
            <a:r>
              <a:rPr lang="zh-CN"/>
              <a:t>常量改成宏定义的形式</a:t>
            </a:r>
            <a:endParaRPr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在使用</a:t>
            </a:r>
            <a:r>
              <a:rPr lang="en-US"/>
              <a:t>bindgen</a:t>
            </a:r>
            <a:r>
              <a:rPr lang="zh-CN"/>
              <a:t>时，头文件中的一部分具有函数功能的宏会被忽略</a:t>
            </a:r>
            <a:endParaRPr/>
          </a:p>
        </p:txBody>
      </p:sp>
      <p:sp>
        <p:nvSpPr>
          <p:cNvPr id="6" name="文本框 5"/>
          <p:cNvSpPr txBox="1"/>
          <p:nvPr/>
        </p:nvSpPr>
        <p:spPr bwMode="auto"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解决方案：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一：专门写一个函数来扫描所有头文件，将具有函数功能的宏以</a:t>
            </a:r>
            <a:r>
              <a:rPr lang="en-US"/>
              <a:t>macro</a:t>
            </a:r>
            <a:r>
              <a:rPr lang="zh-CN"/>
              <a:t>的形式追加到</a:t>
            </a:r>
            <a:r>
              <a:rPr lang="en-US"/>
              <a:t>bindgen</a:t>
            </a:r>
            <a:r>
              <a:rPr lang="zh-CN"/>
              <a:t>末尾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二：手动将所有具有函数功能的宏修改为具有相同名称和功能的函数</a:t>
            </a: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758" y="3776752"/>
            <a:ext cx="8864221" cy="2523434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 bwMode="auto"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由于这样的宏并不是很多，所以我们选择了方案二，下面是一个例子：</a:t>
            </a:r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6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8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/>
          </a:p>
        </p:txBody>
      </p:sp>
      <p:sp>
        <p:nvSpPr>
          <p:cNvPr id="3" name="Title 1"/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/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/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，而我们的代码中大量使用了</a:t>
            </a:r>
            <a:r>
              <a:rPr lang="en-US"/>
              <a:t>std</a:t>
            </a:r>
            <a:r>
              <a:rPr lang="zh-CN"/>
              <a:t>库的功能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r>
              <a:rPr lang="zh-CN" sz="1600"/>
              <a:t>核心库，提供</a:t>
            </a:r>
            <a:r>
              <a:rPr lang="en-US" sz="1600"/>
              <a:t>Rust</a:t>
            </a:r>
            <a:r>
              <a:rPr lang="zh-CN" sz="1600"/>
              <a:t>语言的基础设施，如基础数据类型、操作符、宏等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r>
              <a:rPr lang="zh-CN" sz="1600"/>
              <a:t>提供动态内存分配的支持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no_std_async</a:t>
            </a:r>
            <a:r>
              <a:rPr lang="zh-CN"/>
              <a:t>：</a:t>
            </a:r>
            <a:r>
              <a:rPr lang="zh-CN" sz="1600"/>
              <a:t>专为</a:t>
            </a:r>
            <a:r>
              <a:rPr lang="en-US" sz="1600"/>
              <a:t>no-std</a:t>
            </a:r>
            <a:r>
              <a:rPr lang="zh-CN" sz="1600"/>
              <a:t>环境设计的异步库，旨在提供不依赖标准库的情况下使用异步编程的能力</a:t>
            </a:r>
            <a:endParaRPr lang="en-US" sz="16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533399" y="1468104"/>
            <a:ext cx="11261036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dirty="0"/>
              <a:t>在代码的具体实现中，我们做了以下替换：</a:t>
            </a: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 =&gt; 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sync</a:t>
            </a:r>
            <a:endParaRPr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fmt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  =&gt; core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fmt</a:t>
            </a:r>
            <a:endParaRPr lang="en-US" b="1" dirty="0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ell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UnsafeCell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core::cell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UnsafeCell</a:t>
            </a:r>
            <a:endParaRPr lang="en-US" b="1" dirty="0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ollections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VecDeque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collections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VecDeque</a:t>
            </a:r>
            <a:endParaRPr lang="en-US" b="1" dirty="0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boxed =&gt; 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boxed</a:t>
            </a:r>
            <a:endParaRPr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mem =&gt; core::mem</a:t>
            </a:r>
            <a:endParaRPr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RwLock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</a:t>
            </a:r>
            <a:r>
              <a:rPr lang="zh-CN" altLang="en-US" b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/>
              </a:rPr>
              <a:t>内置库中并没有</a:t>
            </a:r>
            <a:endParaRPr lang="en-US" altLang="zh-CN" b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b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/>
              </a:rPr>
              <a:t>引入了</a:t>
            </a:r>
            <a:r>
              <a:rPr lang="zh-CN" alt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</a:t>
            </a:r>
            <a:r>
              <a:rPr lang="en-US" altLang="zh-CN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rwlock</a:t>
            </a:r>
            <a:r>
              <a:rPr lang="zh-CN" altLang="en-US" b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/>
              </a:rPr>
              <a:t>，后由于需要实现 </a:t>
            </a:r>
            <a:r>
              <a:rPr lang="en-US" altLang="zh-CN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Default trait </a:t>
            </a:r>
            <a:r>
              <a:rPr lang="zh-CN" altLang="en-US" b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/>
              </a:rPr>
              <a:t>将代码下载后并入项目。</a:t>
            </a:r>
            <a:endParaRPr lang="en-US" b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/>
            </a:endParaRPr>
          </a:p>
          <a:p>
            <a:pPr>
              <a:lnSpc>
                <a:spcPct val="150000"/>
              </a:lnSpc>
              <a:defRPr/>
            </a:pPr>
            <a:endParaRPr lang="en-US" altLang="zh-CN" dirty="0"/>
          </a:p>
          <a:p>
            <a:pPr>
              <a:lnSpc>
                <a:spcPct val="150000"/>
              </a:lnSpc>
              <a:defRPr/>
            </a:pPr>
            <a:r>
              <a:rPr lang="zh-CN" dirty="0"/>
              <a:t>此外，在实现某些功能时，还引入了诸如</a:t>
            </a:r>
            <a:r>
              <a:rPr lang="en-US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core::marker::</a:t>
            </a:r>
            <a:r>
              <a:rPr lang="en-US" b="1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PhantomData</a:t>
            </a:r>
            <a:r>
              <a:rPr lang="zh-CN" dirty="0"/>
              <a:t>等</a:t>
            </a:r>
            <a:r>
              <a:rPr lang="en-US" dirty="0"/>
              <a:t>no-std</a:t>
            </a:r>
            <a:r>
              <a:rPr lang="zh-CN" dirty="0"/>
              <a:t>环境的库中的内容。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endParaRPr lang="en-US" dirty="0"/>
          </a:p>
          <a:p>
            <a:pPr>
              <a:defRPr/>
            </a:pPr>
            <a:endParaRPr lang="zh-CN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链表项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链表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48269" y="1535373"/>
            <a:ext cx="9328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首先为链表项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然后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再实现一些基本的函数，如取得或修改链表项的前后结点，获得或修改链表项的值等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最后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模块简介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FreeRTOS任务管理模块，提供任务的创建、删除、挂起和恢复等操作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核心数据结构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主要数据结构为</a:t>
            </a:r>
            <a:r>
              <a:rPr sz="2400" b="0" i="0" u="none">
                <a:solidFill>
                  <a:srgbClr val="000000"/>
                </a:solidFill>
                <a:latin typeface="Consolas"/>
                <a:ea typeface="等线 Light"/>
                <a:cs typeface="Courier New"/>
              </a:rPr>
              <a:t>TaskControlBlock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，包含任务状态、优先级、名称等字段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关键特性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通过条件编译适应不同配置，提高模块的灵活性和安全性。</a:t>
            </a:r>
            <a:endParaRPr sz="7200">
              <a:latin typeface="等线 Light"/>
              <a:ea typeface="等线 Light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472300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状态列表项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优先级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名称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指针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长度。</a:t>
            </a:r>
            <a:endParaRPr sz="4800">
              <a:latin typeface="等线 Light"/>
              <a:ea typeface="等线 Light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6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800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7605614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6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用链表维护内存帧的使用情况,并提供了一系列函数来处理内存访问、页面错误等操作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运行冒泡排序程序，统计访存时间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address_map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虚拟地址映射到物理地址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先查找TLB,未命中则访问页表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页表项无效时,触发页面错误</a:t>
            </a:r>
            <a:endParaRPr/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LRU/FIFO链表和TLB</a:t>
            </a:r>
            <a:endParaRPr sz="2800">
              <a:latin typeface="等线 Light"/>
              <a:ea typeface="等线 Ligh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pageFault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处理页面错误情况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根据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ReplacementStrategy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选择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若使用TLB,清除被替换页的TLB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脏页写回磁盘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读入导致页面错误的页到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页表项和LRU/FIFO链表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search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在TLB中搜索虚拟地址映射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找到则更新引用位和脏位</a:t>
            </a:r>
            <a:endParaRPr/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未找到返回</a:t>
            </a: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-1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(TLB未命中)</a:t>
            </a:r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update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页号和帧号映射添加到TLB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优先使用空闲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无空闲条目时,使用LRU替换策略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被替换条目脏位为1,更新页表项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6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/>
                <a:ea typeface="等线 Light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 </a:t>
            </a:r>
            <a:r>
              <a:rPr sz="2400" dirty="0">
                <a:latin typeface="等线 Light"/>
                <a:ea typeface="等线 Light"/>
              </a:rPr>
              <a:t>include </a:t>
            </a:r>
            <a:r>
              <a:rPr sz="2400" dirty="0" err="1">
                <a:latin typeface="等线 Light"/>
                <a:ea typeface="等线 Light"/>
              </a:rPr>
              <a:t>所有头文件</a:t>
            </a:r>
            <a:r>
              <a:rPr sz="2400" dirty="0">
                <a:latin typeface="等线 Light"/>
                <a:ea typeface="等线 Light"/>
              </a:rPr>
              <a:t>。</a:t>
            </a:r>
            <a:endParaRPr dirty="0"/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/>
                <a:ea typeface="等线 Light"/>
              </a:rPr>
              <a:t>再对这一</a:t>
            </a:r>
            <a:r>
              <a:rPr sz="2400" dirty="0">
                <a:latin typeface="等线 Light"/>
                <a:ea typeface="等线 Light"/>
              </a:rPr>
              <a:t> c </a:t>
            </a:r>
            <a:r>
              <a:rPr sz="2400" dirty="0" err="1">
                <a:latin typeface="等线 Light"/>
                <a:ea typeface="等线 Light"/>
              </a:rPr>
              <a:t>文件进行</a:t>
            </a:r>
            <a:r>
              <a:rPr sz="2400" dirty="0">
                <a:latin typeface="等线 Light"/>
                <a:ea typeface="等线 Light"/>
              </a:rPr>
              <a:t> </a:t>
            </a:r>
            <a:r>
              <a:rPr sz="2400" dirty="0" err="1">
                <a:latin typeface="等线 Light"/>
                <a:ea typeface="等线 Light"/>
              </a:rPr>
              <a:t>bindgen，可以得到干净的</a:t>
            </a:r>
            <a:r>
              <a:rPr sz="2400" dirty="0">
                <a:latin typeface="等线 Light"/>
                <a:ea typeface="等线 Light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bind</a:t>
            </a:r>
            <a:r>
              <a:rPr lang="en-US" sz="2400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ings</a:t>
            </a:r>
            <a:r>
              <a:rPr sz="2400" dirty="0" err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.rs</a:t>
            </a:r>
            <a:r>
              <a:rPr sz="2400" dirty="0" err="1">
                <a:latin typeface="等线 Light"/>
                <a:ea typeface="等线 Light"/>
              </a:rPr>
              <a:t>（不会生成调用的库函数</a:t>
            </a:r>
            <a:r>
              <a:rPr sz="2400" dirty="0">
                <a:latin typeface="等线 Light"/>
                <a:ea typeface="等线 Light"/>
              </a:rPr>
              <a:t>）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>
              <a:latin typeface="+mj-ea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流行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是最主流的嵌入式操作系统之一，在全球范围内被广泛采用，拥有庞大的社区支持和活跃的生态系统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功能丰富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提供了丰富的功能，如任务管理、内存管理、同步机制等，同时还支持文件系统，满足了嵌入式系统的各种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优异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实时性能出色，能够满足嵌入式系统的实时性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源代码质量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代码精简、可读性强，易于移植到各种嵌入式平台，对开发者友好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版权“友好”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许可证商业友好，允许商业应用和修改，没有版权的后顾之忧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是一个广泛使用的实时操作系统</a:t>
            </a:r>
            <a:r>
              <a:rPr lang="en-US" sz="1400" b="0">
                <a:latin typeface="+mn-ea"/>
                <a:ea typeface="+mn-ea"/>
                <a:cs typeface="Segoe UI"/>
              </a:rPr>
              <a:t>(RTOS)</a:t>
            </a:r>
            <a:r>
              <a:rPr lang="zh-CN" sz="1400" b="0">
                <a:latin typeface="+mn-ea"/>
                <a:ea typeface="+mn-ea"/>
                <a:cs typeface="Segoe UI"/>
              </a:rPr>
              <a:t>，专为嵌入式系统设计。它由</a:t>
            </a:r>
            <a:r>
              <a:rPr lang="en-US" sz="1400" b="0">
                <a:latin typeface="+mn-ea"/>
                <a:ea typeface="+mn-ea"/>
                <a:cs typeface="Segoe UI"/>
              </a:rPr>
              <a:t>Richard Barry</a:t>
            </a:r>
            <a:r>
              <a:rPr lang="zh-CN" sz="1400" b="0">
                <a:latin typeface="+mn-ea"/>
                <a:ea typeface="+mn-ea"/>
                <a:cs typeface="Segoe UI"/>
              </a:rPr>
              <a:t>于</a:t>
            </a:r>
            <a:r>
              <a:rPr lang="en-US" sz="1400" b="0">
                <a:latin typeface="+mn-ea"/>
                <a:ea typeface="+mn-ea"/>
                <a:cs typeface="Segoe UI"/>
              </a:rPr>
              <a:t>2003</a:t>
            </a:r>
            <a:r>
              <a:rPr lang="zh-CN" sz="1400" b="0">
                <a:latin typeface="+mn-ea"/>
                <a:ea typeface="+mn-ea"/>
                <a:cs typeface="Segoe UI"/>
              </a:rPr>
              <a:t>年首次发布并持续维护。</a:t>
            </a: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以其简洁、高效、可裁剪的特点</a:t>
            </a:r>
            <a:r>
              <a:rPr lang="en-US" sz="1400" b="0">
                <a:latin typeface="+mn-ea"/>
                <a:ea typeface="+mn-ea"/>
                <a:cs typeface="Segoe UI"/>
              </a:rPr>
              <a:t>,</a:t>
            </a:r>
            <a:r>
              <a:rPr lang="zh-CN" sz="1400" b="0">
                <a:latin typeface="+mn-ea"/>
                <a:ea typeface="+mn-ea"/>
                <a:cs typeface="Segoe UI"/>
              </a:rPr>
              <a:t>在全球范围内获得了广泛的认可和应用，其优点包括但不限于右表中列出的部分：</a:t>
            </a:r>
            <a:endParaRPr/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6241" y="1755468"/>
            <a:ext cx="3273542" cy="1244422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E9980B9-37F5-4B8C-884E-8E19F6936D19}"/>
              </a:ext>
            </a:extLst>
          </p:cNvPr>
          <p:cNvSpPr txBox="1"/>
          <p:nvPr/>
        </p:nvSpPr>
        <p:spPr bwMode="auto">
          <a:xfrm>
            <a:off x="714963" y="1599849"/>
            <a:ext cx="5664817" cy="301024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还有一点问题</a:t>
            </a:r>
            <a:r>
              <a:rPr lang="en-US" altLang="zh-CN" sz="2400" dirty="0">
                <a:latin typeface="等线 Light"/>
                <a:ea typeface="等线 Light"/>
              </a:rPr>
              <a:t>……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C </a:t>
            </a:r>
            <a:r>
              <a:rPr lang="zh-CN" altLang="en-US" sz="2400" dirty="0">
                <a:latin typeface="等线 Light"/>
                <a:ea typeface="等线 Light"/>
              </a:rPr>
              <a:t>代码中部分函数以宏的形式定义，</a:t>
            </a:r>
            <a:r>
              <a:rPr lang="en-US" altLang="zh-CN" sz="2400" dirty="0" err="1">
                <a:latin typeface="等线 Light"/>
                <a:ea typeface="等线 Light"/>
              </a:rPr>
              <a:t>bindgen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无法识别这些函数，如右图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Rust </a:t>
            </a:r>
            <a:r>
              <a:rPr lang="zh-CN" altLang="en-US" sz="2400" dirty="0">
                <a:latin typeface="等线 Light"/>
                <a:ea typeface="等线 Light"/>
              </a:rPr>
              <a:t>程序中要调用此类函数则会报错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解决方案：将需要被调用的宏改写为函数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48F04-707E-4CED-A4B6-E43C32ED2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525" y="1599849"/>
            <a:ext cx="5560490" cy="2254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C49E35-F37C-4AF0-9E5D-F1791487FD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372" y="4722449"/>
            <a:ext cx="6051176" cy="236374"/>
          </a:xfrm>
          <a:prstGeom prst="rect">
            <a:avLst/>
          </a:prstGeom>
        </p:spPr>
      </p:pic>
      <p:sp>
        <p:nvSpPr>
          <p:cNvPr id="9" name="Arrow: Down 8">
            <a:extLst>
              <a:ext uri="{FF2B5EF4-FFF2-40B4-BE49-F238E27FC236}">
                <a16:creationId xmlns:a16="http://schemas.microsoft.com/office/drawing/2014/main" id="{562530E5-ED3E-49A9-9065-CA58E0DC7DCF}"/>
              </a:ext>
            </a:extLst>
          </p:cNvPr>
          <p:cNvSpPr/>
          <p:nvPr/>
        </p:nvSpPr>
        <p:spPr>
          <a:xfrm>
            <a:off x="6286089" y="5089550"/>
            <a:ext cx="286871" cy="6541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0E9CF7-9E83-46D3-845C-5723424025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808" y="5870345"/>
            <a:ext cx="5421434" cy="880983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331424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ABB2BF"/>
              </a:solidFill>
              <a:effectLst/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27260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48055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首先在使用调试模式运行 </a:t>
            </a:r>
            <a:r>
              <a:rPr lang="en-US" altLang="zh-CN" sz="2400" dirty="0">
                <a:latin typeface="等线 Light"/>
                <a:ea typeface="等线 Light"/>
              </a:rPr>
              <a:t>QEMU</a:t>
            </a:r>
            <a:r>
              <a:rPr lang="zh-CN" altLang="en-US" sz="2400" dirty="0">
                <a:latin typeface="等线 Light"/>
                <a:ea typeface="等线 Light"/>
              </a:rPr>
              <a:t>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ig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effectLst/>
              <a:highlight>
                <a:srgbClr val="FFFF00"/>
              </a:highlight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此时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会打开端口 </a:t>
            </a:r>
            <a:r>
              <a:rPr lang="en-US" altLang="zh-CN" sz="2400" dirty="0">
                <a:latin typeface="等线 Light"/>
                <a:ea typeface="等线 Light"/>
              </a:rPr>
              <a:t>1234 </a:t>
            </a:r>
            <a:r>
              <a:rPr lang="zh-CN" altLang="en-US" sz="2400" dirty="0">
                <a:latin typeface="等线 Light"/>
                <a:ea typeface="等线 Light"/>
              </a:rPr>
              <a:t>供调试工具访问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等线 Light"/>
                <a:ea typeface="等线 Light"/>
              </a:rPr>
              <a:t>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等线 Light"/>
                <a:ea typeface="等线 Light"/>
              </a:rPr>
              <a:t>即可启动调试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8335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4819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oleObj" r:id="rId4" imgW="7772400" imgH="10058400" progId="TCLayout.ActiveDocument.1">
                  <p:embed/>
                </p:oleObj>
              </mc:Choice>
              <mc:Fallback>
                <p:oleObj name="oleObj" r:id="rId4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存安全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通过所有权系统、借用检查器和生命周期管理等机制，确保在编译时避免内存安全问题，如空指针、野指针、数据竞争等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并发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置了轻量级的线程模型和消息传递机制，使并发编程更加容易和安全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性能与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/C++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相当，甚至在某些情况下更好。它通过零成本抽象和内联优化等技术实现高性能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模式匹配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强大的模式匹配功能，可用于处理复杂的数据结构和状态转换，使代码更加清晰和可维护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生态系统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活跃的社区和丰富的库，可以轻松地与其他语言进行集成，并提供各种功能强大的工具和框架，如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argo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构建系统等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Rust </a:t>
            </a:r>
            <a:r>
              <a:rPr lang="zh-CN" sz="1400" b="0">
                <a:latin typeface="+mn-ea"/>
                <a:ea typeface="+mn-ea"/>
                <a:cs typeface="Segoe UI"/>
              </a:rPr>
              <a:t>是一门系统级别的编程语言，它旨在解决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等语言在系统级编程中常见的安全性和并发性等问题。</a:t>
            </a:r>
            <a:endParaRPr/>
          </a:p>
          <a:p>
            <a:pPr>
              <a:defRPr/>
            </a:pPr>
            <a:endParaRPr lang="zh-CN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zh-CN" sz="1400" b="0">
                <a:latin typeface="+mn-ea"/>
                <a:ea typeface="+mn-ea"/>
                <a:cs typeface="Segoe UI"/>
              </a:rPr>
              <a:t>传统的系统级编程语言如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在处理内存安全性和并发性时存在许多挑战，如空指针、数据竞争等问题。而</a:t>
            </a:r>
            <a:r>
              <a:rPr lang="en-US" sz="1400" b="0">
                <a:latin typeface="+mn-ea"/>
                <a:ea typeface="+mn-ea"/>
                <a:cs typeface="Segoe UI"/>
              </a:rPr>
              <a:t>Rust</a:t>
            </a:r>
            <a:r>
              <a:rPr lang="zh-CN" sz="1400" b="0">
                <a:latin typeface="+mn-ea"/>
                <a:ea typeface="+mn-ea"/>
                <a:cs typeface="Segoe UI"/>
              </a:rPr>
              <a:t>的设计目标之一是通过强大的类型系统和所有权机制解决这些问题，提高代码的安全性和可靠性。</a:t>
            </a: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67407" y="1443562"/>
            <a:ext cx="1981054" cy="198768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rcRect l="9098" r="11590"/>
          <a:stretch/>
        </p:blipFill>
        <p:spPr bwMode="auto"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 extrusionOk="0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/>
          <p:cNvSpPr/>
          <p:nvPr/>
        </p:nvSpPr>
        <p:spPr bwMode="auto">
          <a:xfrm>
            <a:off x="5061912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ounded Rectangle 21"/>
          <p:cNvSpPr/>
          <p:nvPr/>
        </p:nvSpPr>
        <p:spPr bwMode="auto"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5" name="Round Same Side Corner Rectangle 4"/>
          <p:cNvSpPr/>
          <p:nvPr/>
        </p:nvSpPr>
        <p:spPr bwMode="auto"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70009" y="2290552"/>
            <a:ext cx="3342684" cy="1218794"/>
          </a:xfr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微软雅黑"/>
                <a:ea typeface="微软雅黑"/>
              </a:rPr>
              <a:t>项目目标</a:t>
            </a:r>
            <a:br>
              <a:rPr lang="en-US" sz="4000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——</a:t>
            </a:r>
            <a:r>
              <a:rPr lang="zh-CN" sz="2400">
                <a:solidFill>
                  <a:schemeClr val="bg1"/>
                </a:solidFill>
              </a:rPr>
              <a:t>用 </a:t>
            </a:r>
            <a:r>
              <a:rPr lang="en-US" sz="2400">
                <a:solidFill>
                  <a:schemeClr val="bg1"/>
                </a:solidFill>
              </a:rPr>
              <a:t>Rust </a:t>
            </a:r>
            <a:r>
              <a:rPr lang="zh-CN" sz="2400">
                <a:solidFill>
                  <a:schemeClr val="bg1"/>
                </a:solidFill>
              </a:rPr>
              <a:t>改写 </a:t>
            </a:r>
            <a:r>
              <a:rPr lang="en-US" sz="2400">
                <a:solidFill>
                  <a:schemeClr val="bg1"/>
                </a:solidFill>
              </a:rPr>
              <a:t>FreeRTOS </a:t>
            </a:r>
            <a:r>
              <a:rPr lang="zh-CN" sz="2400">
                <a:solidFill>
                  <a:schemeClr val="bg1"/>
                </a:solidFill>
              </a:rPr>
              <a:t>并支持 </a:t>
            </a:r>
            <a:r>
              <a:rPr lang="en-US" sz="2400">
                <a:solidFill>
                  <a:schemeClr val="bg1"/>
                </a:solidFill>
              </a:rPr>
              <a:t>MMU</a:t>
            </a:r>
            <a:endParaRPr lang="en-US" sz="4000">
              <a:solidFill>
                <a:schemeClr val="bg1"/>
              </a:solidFill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 extrusionOk="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7" name="Title 1"/>
          <p:cNvSpPr txBox="1"/>
          <p:nvPr/>
        </p:nvSpPr>
        <p:spPr bwMode="auto">
          <a:xfrm>
            <a:off x="970009" y="3958050"/>
            <a:ext cx="2727295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选择 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Rust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内存安全和并发优势</a:t>
            </a:r>
            <a:endParaRPr lang="en-US" sz="1600" b="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添加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MMU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增强内存管理和安全性</a:t>
            </a:r>
            <a:endParaRPr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auto"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 bwMode="auto">
          <a:xfrm>
            <a:off x="7345124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Rounded Rectangle 19"/>
          <p:cNvSpPr/>
          <p:nvPr/>
        </p:nvSpPr>
        <p:spPr bwMode="auto">
          <a:xfrm>
            <a:off x="9628336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" name="Oval 20"/>
          <p:cNvSpPr/>
          <p:nvPr/>
        </p:nvSpPr>
        <p:spPr bwMode="auto"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3" name="Title 1"/>
          <p:cNvSpPr txBox="1"/>
          <p:nvPr/>
        </p:nvSpPr>
        <p:spPr bwMode="auto"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所有权机制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4" name="Title 1"/>
          <p:cNvSpPr txBox="1"/>
          <p:nvPr/>
        </p:nvSpPr>
        <p:spPr bwMode="auto"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确保了内存安全，防止了缓冲区溢出、越界访问等常见的内存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仔细思考内存的使用和分配，防止代码中出现未预料到的更改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从而影响代码的正确性和安全性</a:t>
            </a:r>
            <a:endParaRPr/>
          </a:p>
        </p:txBody>
      </p:sp>
      <p:sp>
        <p:nvSpPr>
          <p:cNvPr id="26" name="Rounded Rectangle 25"/>
          <p:cNvSpPr/>
          <p:nvPr/>
        </p:nvSpPr>
        <p:spPr bwMode="auto"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7" name="Oval 26"/>
          <p:cNvSpPr/>
          <p:nvPr/>
        </p:nvSpPr>
        <p:spPr bwMode="auto"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8" name="Title 1"/>
          <p:cNvSpPr txBox="1"/>
          <p:nvPr/>
        </p:nvSpPr>
        <p:spPr bwMode="auto"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生命周期管理与借用规则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9" name="Title 1"/>
          <p:cNvSpPr txBox="1"/>
          <p:nvPr/>
        </p:nvSpPr>
        <p:spPr bwMode="auto"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供了丰富的生命周期管理功能和借用规则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考虑数据的有效期和访问权限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升代码的安全性，增强软件的可维护性和可读性</a:t>
            </a:r>
            <a:endParaRPr/>
          </a:p>
        </p:txBody>
      </p:sp>
      <p:sp>
        <p:nvSpPr>
          <p:cNvPr id="31" name="Rounded Rectangle 30"/>
          <p:cNvSpPr/>
          <p:nvPr/>
        </p:nvSpPr>
        <p:spPr bwMode="auto"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2" name="Oval 31"/>
          <p:cNvSpPr/>
          <p:nvPr/>
        </p:nvSpPr>
        <p:spPr bwMode="auto"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33" name="Title 1"/>
          <p:cNvSpPr txBox="1"/>
          <p:nvPr/>
        </p:nvSpPr>
        <p:spPr bwMode="auto"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类型安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与借用检查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的借用检查器保证了代码的类型安全，能够在编译时期就发现潜在的类型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严格遵守类型规则，确保数据类型的正确匹配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以避免程序在运行时期的类型错误</a:t>
            </a:r>
            <a:endParaRPr/>
          </a:p>
        </p:txBody>
      </p:sp>
      <p:grpSp>
        <p:nvGrpSpPr>
          <p:cNvPr id="36" name="Group 35"/>
          <p:cNvGrpSpPr/>
          <p:nvPr/>
        </p:nvGrpSpPr>
        <p:grpSpPr bwMode="auto"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/>
            <p:cNvSpPr/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 extrusionOk="0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 extrusionOk="0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9" name="Freeform 38"/>
            <p:cNvSpPr/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 extrusionOk="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extrusionOk="0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 extrusionOk="0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2" name="Freeform 41"/>
            <p:cNvSpPr/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extrusionOk="0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3" name="Line 164"/>
            <p:cNvSpPr>
              <a:spLocks noChangeShapeType="1"/>
            </p:cNvSpPr>
            <p:nvPr/>
          </p:nvSpPr>
          <p:spPr bwMode="auto">
            <a:xfrm>
              <a:off x="2827338" y="3505199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4" name="Line 165"/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5" name="Group 44"/>
          <p:cNvGrpSpPr/>
          <p:nvPr/>
        </p:nvGrpSpPr>
        <p:grpSpPr bwMode="auto"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8" name="Group 47"/>
          <p:cNvGrpSpPr/>
          <p:nvPr/>
        </p:nvGrpSpPr>
        <p:grpSpPr bwMode="auto"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0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52" name="Group 51"/>
          <p:cNvGrpSpPr/>
          <p:nvPr/>
        </p:nvGrpSpPr>
        <p:grpSpPr bwMode="auto"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4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6" name="文本框 5"/>
          <p:cNvSpPr txBox="1"/>
          <p:nvPr/>
        </p:nvSpPr>
        <p:spPr bwMode="auto"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>
              <a:defRPr/>
            </a:pP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/>
          <p:cNvSpPr txBox="1"/>
          <p:nvPr/>
        </p:nvSpPr>
        <p:spPr bwMode="auto"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2800" b="1" i="0" u="none" strike="noStrike" cap="none" spc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latin typeface="等线"/>
                <a:ea typeface="等线"/>
                <a:cs typeface="Segoe UI"/>
              </a:rPr>
              <a:t>安全！细致！动脑子！</a:t>
            </a:r>
            <a:endParaRPr lang="en-US" sz="2800" b="1" i="0" u="none" strike="noStrike" cap="none" spc="0">
              <a:ln>
                <a:noFill/>
              </a:ln>
              <a:solidFill>
                <a:srgbClr val="04558D">
                  <a:lumMod val="75000"/>
                </a:srgbClr>
              </a:solidFill>
              <a:latin typeface="等线"/>
              <a:ea typeface="等线"/>
              <a:cs typeface="Segoe UI"/>
            </a:endParaRPr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，参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 bwMode="auto"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/>
              <a:t>LOC </a:t>
            </a:r>
            <a:r>
              <a:rPr lang="zh-CN"/>
              <a:t>统计</a:t>
            </a:r>
            <a:endParaRPr/>
          </a:p>
        </p:txBody>
      </p:sp>
      <p:sp>
        <p:nvSpPr>
          <p:cNvPr id="2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607325" y="1781033"/>
            <a:ext cx="9376012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Rust</a:t>
            </a:r>
            <a:r>
              <a:rPr lang="zh-CN"/>
              <a:t>版本的</a:t>
            </a:r>
            <a:r>
              <a:rPr lang="en-US"/>
              <a:t>FreeRTOS</a:t>
            </a:r>
            <a:r>
              <a:rPr lang="zh-CN"/>
              <a:t>系统顺利在</a:t>
            </a:r>
            <a:r>
              <a:rPr lang="en-US"/>
              <a:t>QEMU</a:t>
            </a:r>
            <a:r>
              <a:rPr lang="zh-CN"/>
              <a:t>上运行</a:t>
            </a:r>
            <a:endParaRPr lang="en-US"/>
          </a:p>
          <a:p>
            <a:pPr marL="742950" lvl="1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zh-CN"/>
              <a:t>整个系统完整编译，而非对某一特性的专门测试</a:t>
            </a:r>
            <a:endParaRPr lang="en-US"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MMU</a:t>
            </a:r>
            <a:r>
              <a:rPr lang="zh-CN"/>
              <a:t>功能顺利实现，命中率高达</a:t>
            </a:r>
            <a:r>
              <a:rPr lang="en-US"/>
              <a:t>99.974%</a:t>
            </a:r>
            <a:endParaRPr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endParaRPr lang="zh-CN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</TotalTime>
  <Words>2679</Words>
  <Application>Microsoft Office PowerPoint</Application>
  <DocSecurity>0</DocSecurity>
  <PresentationFormat>Widescreen</PresentationFormat>
  <Paragraphs>299</Paragraphs>
  <Slides>45</Slides>
  <Notes>3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9" baseType="lpstr">
      <vt:lpstr>-apple-system</vt:lpstr>
      <vt:lpstr>微软雅黑</vt:lpstr>
      <vt:lpstr>等线</vt:lpstr>
      <vt:lpstr>等线 Light</vt:lpstr>
      <vt:lpstr>黑体</vt:lpstr>
      <vt:lpstr>Arial</vt:lpstr>
      <vt:lpstr>Calibri</vt:lpstr>
      <vt:lpstr>Consolas</vt:lpstr>
      <vt:lpstr>Consolig</vt:lpstr>
      <vt:lpstr>Georgia</vt:lpstr>
      <vt:lpstr>Segoe UI</vt:lpstr>
      <vt:lpstr>Segoe UI Light</vt:lpstr>
      <vt:lpstr>Office Theme</vt:lpstr>
      <vt:lpstr>oleObj</vt:lpstr>
      <vt:lpstr>PowerPoint Presentation</vt:lpstr>
      <vt:lpstr>PowerPoint Presentation</vt:lpstr>
      <vt:lpstr>PowerPoint Presentation</vt:lpstr>
      <vt:lpstr>引言——项目背景 FreeRTOS</vt:lpstr>
      <vt:lpstr>引言——项目背景 Rust</vt:lpstr>
      <vt:lpstr>项目目标 ——用 Rust 改写 FreeRTOS 并支持 MMU</vt:lpstr>
      <vt:lpstr>PowerPoint Presentation</vt:lpstr>
      <vt:lpstr>PowerPoint Presentation</vt:lpstr>
      <vt:lpstr>PowerPoint Presentation</vt:lpstr>
      <vt:lpstr>PowerPoint Presentation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Presentation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Presentation</vt:lpstr>
      <vt:lpstr>交叉编译与上板(bindgen方案)</vt:lpstr>
      <vt:lpstr>交叉编译与上板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Hyperhydrochloric Acid</cp:lastModifiedBy>
  <cp:revision>275</cp:revision>
  <dcterms:created xsi:type="dcterms:W3CDTF">2019-08-16T12:08:31Z</dcterms:created>
  <dcterms:modified xsi:type="dcterms:W3CDTF">2024-07-05T15:44:24Z</dcterms:modified>
  <cp:category/>
  <dc:identifier/>
  <cp:contentStatus/>
  <dc:language/>
  <cp:version/>
</cp:coreProperties>
</file>